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3"/>
  </p:notesMasterIdLst>
  <p:handoutMasterIdLst>
    <p:handoutMasterId r:id="rId14"/>
  </p:handoutMasterIdLst>
  <p:sldIdLst>
    <p:sldId id="256" r:id="rId2"/>
    <p:sldId id="282" r:id="rId3"/>
    <p:sldId id="314" r:id="rId4"/>
    <p:sldId id="284" r:id="rId5"/>
    <p:sldId id="315" r:id="rId6"/>
    <p:sldId id="294" r:id="rId7"/>
    <p:sldId id="271" r:id="rId8"/>
    <p:sldId id="279" r:id="rId9"/>
    <p:sldId id="292" r:id="rId10"/>
    <p:sldId id="291" r:id="rId11"/>
    <p:sldId id="309" r:id="rId1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31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31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 - 7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8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1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2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4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979868"/>
            <a:ext cx="459351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83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5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6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7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7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2</TotalTime>
  <Words>1111</Words>
  <Application>Microsoft Office PowerPoint</Application>
  <PresentationFormat>Widescreen</PresentationFormat>
  <Paragraphs>130</Paragraphs>
  <Slides>1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6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53</cp:revision>
  <dcterms:created xsi:type="dcterms:W3CDTF">2018-08-19T15:50:37Z</dcterms:created>
  <dcterms:modified xsi:type="dcterms:W3CDTF">2018-10-31T17:36:00Z</dcterms:modified>
</cp:coreProperties>
</file>